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84980-84BD-4139-9520-FE5B00F04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1951DD05-1C70-FB1C-305A-2E007F8CA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51DD05-1C70-FB1C-305A-2E007F8CA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F270D-9A42-FF2A-89BF-872CDD7BE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ED866-0265-2FC5-9A5C-42DE371D8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3AC3FD-11D6-604C-764A-37FA6A635E3C}"/>
              </a:ext>
            </a:extLst>
          </p:cNvPr>
          <p:cNvSpPr/>
          <p:nvPr/>
        </p:nvSpPr>
        <p:spPr>
          <a:xfrm>
            <a:off x="3707132" y="4936905"/>
            <a:ext cx="7697330" cy="711541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3200" b="1" kern="0" dirty="0">
                <a:solidFill>
                  <a:sysClr val="window" lastClr="FFFFFF"/>
                </a:solidFill>
                <a:cs typeface="Calibri"/>
              </a:rPr>
              <a:t>STEP 1</a:t>
            </a:r>
          </a:p>
        </p:txBody>
      </p:sp>
      <p:sp>
        <p:nvSpPr>
          <p:cNvPr id="26" name="Rectangle 338">
            <a:extLst>
              <a:ext uri="{FF2B5EF4-FFF2-40B4-BE49-F238E27FC236}">
                <a16:creationId xmlns:a16="http://schemas.microsoft.com/office/drawing/2014/main" id="{15A2197C-2586-0029-62C3-9EB4A643BA69}"/>
              </a:ext>
            </a:extLst>
          </p:cNvPr>
          <p:cNvSpPr/>
          <p:nvPr/>
        </p:nvSpPr>
        <p:spPr>
          <a:xfrm>
            <a:off x="3707132" y="4402112"/>
            <a:ext cx="7697330" cy="534794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1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15CAE21-FFEA-DC23-BF20-917CB438CDF8}"/>
              </a:ext>
            </a:extLst>
          </p:cNvPr>
          <p:cNvSpPr/>
          <p:nvPr/>
        </p:nvSpPr>
        <p:spPr>
          <a:xfrm>
            <a:off x="4356654" y="3901577"/>
            <a:ext cx="6398284" cy="591457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>
                <a:solidFill>
                  <a:sysClr val="window" lastClr="FFFFFF"/>
                </a:solidFill>
                <a:cs typeface="Calibri"/>
              </a:rPr>
              <a:t>STEP 2</a:t>
            </a:r>
          </a:p>
        </p:txBody>
      </p:sp>
      <p:sp>
        <p:nvSpPr>
          <p:cNvPr id="28" name="Rectangle 338">
            <a:extLst>
              <a:ext uri="{FF2B5EF4-FFF2-40B4-BE49-F238E27FC236}">
                <a16:creationId xmlns:a16="http://schemas.microsoft.com/office/drawing/2014/main" id="{509DD04F-EA9C-82E9-52C3-EDA37A05B732}"/>
              </a:ext>
            </a:extLst>
          </p:cNvPr>
          <p:cNvSpPr/>
          <p:nvPr/>
        </p:nvSpPr>
        <p:spPr>
          <a:xfrm>
            <a:off x="4356654" y="3457037"/>
            <a:ext cx="6398284" cy="444538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2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C9160E-05AA-5853-1490-0D4F45C576C9}"/>
              </a:ext>
            </a:extLst>
          </p:cNvPr>
          <p:cNvSpPr/>
          <p:nvPr/>
        </p:nvSpPr>
        <p:spPr>
          <a:xfrm>
            <a:off x="5008234" y="2987896"/>
            <a:ext cx="5095125" cy="470993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000" b="1" kern="0" dirty="0">
                <a:solidFill>
                  <a:sysClr val="window" lastClr="FFFFFF"/>
                </a:solidFill>
                <a:cs typeface="Calibri"/>
              </a:rPr>
              <a:t>STEP 3</a:t>
            </a:r>
          </a:p>
        </p:txBody>
      </p:sp>
      <p:sp>
        <p:nvSpPr>
          <p:cNvPr id="30" name="Rectangle 338">
            <a:extLst>
              <a:ext uri="{FF2B5EF4-FFF2-40B4-BE49-F238E27FC236}">
                <a16:creationId xmlns:a16="http://schemas.microsoft.com/office/drawing/2014/main" id="{C9286DC6-48F3-BD2B-4D50-8D7B4AAF309B}"/>
              </a:ext>
            </a:extLst>
          </p:cNvPr>
          <p:cNvSpPr/>
          <p:nvPr/>
        </p:nvSpPr>
        <p:spPr>
          <a:xfrm>
            <a:off x="5008234" y="2633896"/>
            <a:ext cx="5095125" cy="353999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3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49B4283-E7A7-10B4-ED51-552B90B53A71}"/>
              </a:ext>
            </a:extLst>
          </p:cNvPr>
          <p:cNvSpPr/>
          <p:nvPr/>
        </p:nvSpPr>
        <p:spPr>
          <a:xfrm>
            <a:off x="5527711" y="2263421"/>
            <a:ext cx="4056174" cy="374952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600" b="1" kern="0" dirty="0">
                <a:solidFill>
                  <a:sysClr val="window" lastClr="FFFFFF"/>
                </a:solidFill>
                <a:cs typeface="Calibri"/>
              </a:rPr>
              <a:t>STEP 4</a:t>
            </a:r>
          </a:p>
        </p:txBody>
      </p:sp>
      <p:sp>
        <p:nvSpPr>
          <p:cNvPr id="32" name="Rectangle 338">
            <a:extLst>
              <a:ext uri="{FF2B5EF4-FFF2-40B4-BE49-F238E27FC236}">
                <a16:creationId xmlns:a16="http://schemas.microsoft.com/office/drawing/2014/main" id="{CE400300-B9FE-F155-9A9F-A938D112224F}"/>
              </a:ext>
            </a:extLst>
          </p:cNvPr>
          <p:cNvSpPr/>
          <p:nvPr/>
        </p:nvSpPr>
        <p:spPr>
          <a:xfrm>
            <a:off x="5527711" y="1981606"/>
            <a:ext cx="4056174" cy="281815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4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F9D64E-42FC-AAB8-CAE0-2675568F6C76}"/>
              </a:ext>
            </a:extLst>
          </p:cNvPr>
          <p:cNvSpPr/>
          <p:nvPr/>
        </p:nvSpPr>
        <p:spPr>
          <a:xfrm>
            <a:off x="5946727" y="1687789"/>
            <a:ext cx="3218139" cy="297484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>
                <a:solidFill>
                  <a:sysClr val="window" lastClr="FFFFFF"/>
                </a:solidFill>
                <a:cs typeface="Calibri"/>
              </a:rPr>
              <a:t>STEP 5</a:t>
            </a:r>
          </a:p>
        </p:txBody>
      </p:sp>
      <p:sp>
        <p:nvSpPr>
          <p:cNvPr id="34" name="Rectangle 338">
            <a:extLst>
              <a:ext uri="{FF2B5EF4-FFF2-40B4-BE49-F238E27FC236}">
                <a16:creationId xmlns:a16="http://schemas.microsoft.com/office/drawing/2014/main" id="{1E16ADC3-C985-1A32-402E-CDE341DCF978}"/>
              </a:ext>
            </a:extLst>
          </p:cNvPr>
          <p:cNvSpPr/>
          <p:nvPr/>
        </p:nvSpPr>
        <p:spPr>
          <a:xfrm>
            <a:off x="5946727" y="1464198"/>
            <a:ext cx="3218139" cy="223591"/>
          </a:xfrm>
          <a:custGeom>
            <a:avLst/>
            <a:gdLst>
              <a:gd name="connsiteX0" fmla="*/ 0 w 6150405"/>
              <a:gd name="connsiteY0" fmla="*/ 0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0 w 6150405"/>
              <a:gd name="connsiteY4" fmla="*/ 0 h 585026"/>
              <a:gd name="connsiteX0" fmla="*/ 610567 w 6150405"/>
              <a:gd name="connsiteY0" fmla="*/ 8142 h 585026"/>
              <a:gd name="connsiteX1" fmla="*/ 6150405 w 6150405"/>
              <a:gd name="connsiteY1" fmla="*/ 0 h 585026"/>
              <a:gd name="connsiteX2" fmla="*/ 6150405 w 6150405"/>
              <a:gd name="connsiteY2" fmla="*/ 585026 h 585026"/>
              <a:gd name="connsiteX3" fmla="*/ 0 w 6150405"/>
              <a:gd name="connsiteY3" fmla="*/ 585026 h 585026"/>
              <a:gd name="connsiteX4" fmla="*/ 610567 w 6150405"/>
              <a:gd name="connsiteY4" fmla="*/ 8142 h 585026"/>
              <a:gd name="connsiteX0" fmla="*/ 610567 w 6150405"/>
              <a:gd name="connsiteY0" fmla="*/ 0 h 576884"/>
              <a:gd name="connsiteX1" fmla="*/ 5515416 w 6150405"/>
              <a:gd name="connsiteY1" fmla="*/ 0 h 576884"/>
              <a:gd name="connsiteX2" fmla="*/ 6150405 w 6150405"/>
              <a:gd name="connsiteY2" fmla="*/ 576884 h 576884"/>
              <a:gd name="connsiteX3" fmla="*/ 0 w 6150405"/>
              <a:gd name="connsiteY3" fmla="*/ 576884 h 576884"/>
              <a:gd name="connsiteX4" fmla="*/ 610567 w 6150405"/>
              <a:gd name="connsiteY4" fmla="*/ 0 h 57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0405" h="576884">
                <a:moveTo>
                  <a:pt x="610567" y="0"/>
                </a:moveTo>
                <a:lnTo>
                  <a:pt x="5515416" y="0"/>
                </a:lnTo>
                <a:lnTo>
                  <a:pt x="6150405" y="576884"/>
                </a:lnTo>
                <a:lnTo>
                  <a:pt x="0" y="576884"/>
                </a:lnTo>
                <a:lnTo>
                  <a:pt x="610567" y="0"/>
                </a:lnTo>
                <a:close/>
              </a:path>
            </a:pathLst>
          </a:custGeom>
          <a:solidFill>
            <a:schemeClr val="accent5"/>
          </a:solidFill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b="1" kern="0">
              <a:solidFill>
                <a:sysClr val="window" lastClr="FFFFFF"/>
              </a:solidFill>
              <a:cs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6FEA8-2FA6-EB7C-DEE1-848FF61E1F74}"/>
              </a:ext>
            </a:extLst>
          </p:cNvPr>
          <p:cNvSpPr/>
          <p:nvPr/>
        </p:nvSpPr>
        <p:spPr>
          <a:xfrm>
            <a:off x="787538" y="1557145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3F24459-C582-F7ED-37D4-052C2B9688C8}"/>
              </a:ext>
            </a:extLst>
          </p:cNvPr>
          <p:cNvSpPr/>
          <p:nvPr/>
        </p:nvSpPr>
        <p:spPr>
          <a:xfrm>
            <a:off x="787538" y="2928091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A3D259-845E-F14F-6016-32C6BEE1FF60}"/>
              </a:ext>
            </a:extLst>
          </p:cNvPr>
          <p:cNvSpPr/>
          <p:nvPr/>
        </p:nvSpPr>
        <p:spPr>
          <a:xfrm>
            <a:off x="787538" y="4997303"/>
            <a:ext cx="2545637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D19D9D-10FE-2C2C-88BC-FBB37B07E4F6}"/>
              </a:ext>
            </a:extLst>
          </p:cNvPr>
          <p:cNvSpPr/>
          <p:nvPr/>
        </p:nvSpPr>
        <p:spPr>
          <a:xfrm>
            <a:off x="787538" y="216990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EE8E0DB-C70C-0CBF-3E57-A1550F760F23}"/>
              </a:ext>
            </a:extLst>
          </p:cNvPr>
          <p:cNvSpPr/>
          <p:nvPr/>
        </p:nvSpPr>
        <p:spPr>
          <a:xfrm>
            <a:off x="787538" y="3916036"/>
            <a:ext cx="3064603" cy="37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defRPr/>
            </a:pPr>
            <a:r>
              <a:rPr lang="en-US" sz="1600" kern="0" dirty="0">
                <a:cs typeface="Calibri"/>
              </a:rPr>
              <a:t>Text goes her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D93EA44-ECCB-3647-EADF-3422C624B6C2}"/>
              </a:ext>
            </a:extLst>
          </p:cNvPr>
          <p:cNvCxnSpPr/>
          <p:nvPr/>
        </p:nvCxnSpPr>
        <p:spPr>
          <a:xfrm flipH="1">
            <a:off x="3333174" y="1836531"/>
            <a:ext cx="259542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2A7C15-E485-CB83-DF4A-08EDF9F8D77F}"/>
              </a:ext>
            </a:extLst>
          </p:cNvPr>
          <p:cNvCxnSpPr/>
          <p:nvPr/>
        </p:nvCxnSpPr>
        <p:spPr>
          <a:xfrm flipH="1">
            <a:off x="3207500" y="2450896"/>
            <a:ext cx="2331484" cy="18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79F015-3B0B-5ACF-ECE0-FDB238EE7A70}"/>
              </a:ext>
            </a:extLst>
          </p:cNvPr>
          <p:cNvCxnSpPr/>
          <p:nvPr/>
        </p:nvCxnSpPr>
        <p:spPr>
          <a:xfrm flipH="1">
            <a:off x="3287112" y="3223391"/>
            <a:ext cx="175961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A89AE88-3087-9034-ADB9-350158B6E6B5}"/>
              </a:ext>
            </a:extLst>
          </p:cNvPr>
          <p:cNvCxnSpPr>
            <a:stCxn id="27" idx="1"/>
          </p:cNvCxnSpPr>
          <p:nvPr/>
        </p:nvCxnSpPr>
        <p:spPr>
          <a:xfrm flipH="1">
            <a:off x="3408778" y="4197305"/>
            <a:ext cx="92379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9D31909-534D-8B27-986E-82C958934021}"/>
              </a:ext>
            </a:extLst>
          </p:cNvPr>
          <p:cNvCxnSpPr/>
          <p:nvPr/>
        </p:nvCxnSpPr>
        <p:spPr>
          <a:xfrm flipH="1">
            <a:off x="3198325" y="5292676"/>
            <a:ext cx="52788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871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1</TotalTime>
  <Words>28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Next Step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71</cp:revision>
  <dcterms:created xsi:type="dcterms:W3CDTF">2021-03-31T02:49:57Z</dcterms:created>
  <dcterms:modified xsi:type="dcterms:W3CDTF">2025-10-16T10:52:36Z</dcterms:modified>
  <cp:category/>
</cp:coreProperties>
</file>